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82" r:id="rId5"/>
  </p:sldMasterIdLst>
  <p:notesMasterIdLst>
    <p:notesMasterId r:id="rId12"/>
  </p:notesMasterIdLst>
  <p:sldIdLst>
    <p:sldId id="3192" r:id="rId6"/>
    <p:sldId id="3202" r:id="rId7"/>
    <p:sldId id="3203" r:id="rId8"/>
    <p:sldId id="3205" r:id="rId9"/>
    <p:sldId id="3204" r:id="rId10"/>
    <p:sldId id="3201" r:id="rId11"/>
  </p:sldIdLst>
  <p:sldSz cx="9144000" cy="5715000" type="screen16x10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Roboto" panose="02000000000000000000" pitchFamily="2" charset="0"/>
      <p:regular r:id="rId17"/>
      <p:bold r:id="rId18"/>
      <p:italic r:id="rId19"/>
      <p:boldItalic r:id="rId20"/>
    </p:embeddedFont>
    <p:embeddedFont>
      <p:font typeface="Roboto Light" panose="02000000000000000000" pitchFamily="2" charset="0"/>
      <p:regular r:id="rId21"/>
      <p: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C7E"/>
    <a:srgbClr val="C0C4C5"/>
    <a:srgbClr val="313536"/>
    <a:srgbClr val="322F2E"/>
    <a:srgbClr val="FFEB7F"/>
    <a:srgbClr val="FFFFFF"/>
    <a:srgbClr val="FDD833"/>
    <a:srgbClr val="366FC2"/>
    <a:srgbClr val="BFC3C5"/>
    <a:srgbClr val="FCD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881703-E5B8-2540-B591-0FC35357355C}" v="1" dt="2020-06-15T13:38:06.338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5"/>
    <p:restoredTop sz="94694"/>
  </p:normalViewPr>
  <p:slideViewPr>
    <p:cSldViewPr snapToGrid="0">
      <p:cViewPr varScale="1">
        <p:scale>
          <a:sx n="145" d="100"/>
          <a:sy n="145" d="100"/>
        </p:scale>
        <p:origin x="14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9.fntdata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3.fntdata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font" Target="fonts/font7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hilde Humeau" userId="57393ba1-a328-4a9d-b48c-3eb60267c6a3" providerId="ADAL" clId="{239098EC-8027-4425-81E2-93415A672F48}"/>
    <pc:docChg chg="undo custSel modSld">
      <pc:chgData name="Mathilde Humeau" userId="57393ba1-a328-4a9d-b48c-3eb60267c6a3" providerId="ADAL" clId="{239098EC-8027-4425-81E2-93415A672F48}" dt="2020-06-09T14:58:15.938" v="595" actId="20577"/>
      <pc:docMkLst>
        <pc:docMk/>
      </pc:docMkLst>
      <pc:sldChg chg="addSp delSp modSp mod">
        <pc:chgData name="Mathilde Humeau" userId="57393ba1-a328-4a9d-b48c-3eb60267c6a3" providerId="ADAL" clId="{239098EC-8027-4425-81E2-93415A672F48}" dt="2020-06-09T14:58:15.938" v="595" actId="20577"/>
        <pc:sldMkLst>
          <pc:docMk/>
          <pc:sldMk cId="396510182" sldId="3121"/>
        </pc:sldMkLst>
        <pc:spChg chg="mod">
          <ac:chgData name="Mathilde Humeau" userId="57393ba1-a328-4a9d-b48c-3eb60267c6a3" providerId="ADAL" clId="{239098EC-8027-4425-81E2-93415A672F48}" dt="2020-06-09T12:45:53.118" v="223" actId="1076"/>
          <ac:spMkLst>
            <pc:docMk/>
            <pc:sldMk cId="396510182" sldId="3121"/>
            <ac:spMk id="3" creationId="{BC5A79D3-AEF8-904C-AF78-189F9FF23738}"/>
          </ac:spMkLst>
        </pc:spChg>
        <pc:spChg chg="add mod">
          <ac:chgData name="Mathilde Humeau" userId="57393ba1-a328-4a9d-b48c-3eb60267c6a3" providerId="ADAL" clId="{239098EC-8027-4425-81E2-93415A672F48}" dt="2020-06-09T12:49:36.012" v="322" actId="20577"/>
          <ac:spMkLst>
            <pc:docMk/>
            <pc:sldMk cId="396510182" sldId="3121"/>
            <ac:spMk id="10" creationId="{4F5D9FCB-22DA-4B57-842C-D71CCB6D1D5F}"/>
          </ac:spMkLst>
        </pc:spChg>
        <pc:spChg chg="mod">
          <ac:chgData name="Mathilde Humeau" userId="57393ba1-a328-4a9d-b48c-3eb60267c6a3" providerId="ADAL" clId="{239098EC-8027-4425-81E2-93415A672F48}" dt="2020-06-09T14:27:01.478" v="552" actId="1076"/>
          <ac:spMkLst>
            <pc:docMk/>
            <pc:sldMk cId="396510182" sldId="3121"/>
            <ac:spMk id="11" creationId="{4FDC3C01-3D00-034F-827A-987D9A603C8E}"/>
          </ac:spMkLst>
        </pc:spChg>
        <pc:spChg chg="add mod">
          <ac:chgData name="Mathilde Humeau" userId="57393ba1-a328-4a9d-b48c-3eb60267c6a3" providerId="ADAL" clId="{239098EC-8027-4425-81E2-93415A672F48}" dt="2020-06-09T14:58:04.150" v="587" actId="20577"/>
          <ac:spMkLst>
            <pc:docMk/>
            <pc:sldMk cId="396510182" sldId="3121"/>
            <ac:spMk id="12" creationId="{F78B9F2C-BDBD-431C-9F54-84BE99CF3F55}"/>
          </ac:spMkLst>
        </pc:spChg>
        <pc:spChg chg="del">
          <ac:chgData name="Mathilde Humeau" userId="57393ba1-a328-4a9d-b48c-3eb60267c6a3" providerId="ADAL" clId="{239098EC-8027-4425-81E2-93415A672F48}" dt="2020-06-09T12:42:27.066" v="122" actId="478"/>
          <ac:spMkLst>
            <pc:docMk/>
            <pc:sldMk cId="396510182" sldId="3121"/>
            <ac:spMk id="13" creationId="{2CAD4B97-1616-8940-B76D-6DEF78EB2229}"/>
          </ac:spMkLst>
        </pc:spChg>
        <pc:spChg chg="add del mod">
          <ac:chgData name="Mathilde Humeau" userId="57393ba1-a328-4a9d-b48c-3eb60267c6a3" providerId="ADAL" clId="{239098EC-8027-4425-81E2-93415A672F48}" dt="2020-06-09T12:49:19.753" v="316"/>
          <ac:spMkLst>
            <pc:docMk/>
            <pc:sldMk cId="396510182" sldId="3121"/>
            <ac:spMk id="15" creationId="{559F303D-E875-4645-88D6-AEAC37EF9201}"/>
          </ac:spMkLst>
        </pc:spChg>
        <pc:spChg chg="add mod">
          <ac:chgData name="Mathilde Humeau" userId="57393ba1-a328-4a9d-b48c-3eb60267c6a3" providerId="ADAL" clId="{239098EC-8027-4425-81E2-93415A672F48}" dt="2020-06-09T14:35:34.393" v="585" actId="14"/>
          <ac:spMkLst>
            <pc:docMk/>
            <pc:sldMk cId="396510182" sldId="3121"/>
            <ac:spMk id="16" creationId="{815ED20D-306A-4DC0-B165-89D8179761B2}"/>
          </ac:spMkLst>
        </pc:spChg>
        <pc:spChg chg="add mod">
          <ac:chgData name="Mathilde Humeau" userId="57393ba1-a328-4a9d-b48c-3eb60267c6a3" providerId="ADAL" clId="{239098EC-8027-4425-81E2-93415A672F48}" dt="2020-06-09T14:58:15.938" v="595" actId="20577"/>
          <ac:spMkLst>
            <pc:docMk/>
            <pc:sldMk cId="396510182" sldId="3121"/>
            <ac:spMk id="17" creationId="{B21927F8-BADE-462E-896E-81E9C3DB613E}"/>
          </ac:spMkLst>
        </pc:spChg>
        <pc:picChg chg="add del mod">
          <ac:chgData name="Mathilde Humeau" userId="57393ba1-a328-4a9d-b48c-3eb60267c6a3" providerId="ADAL" clId="{239098EC-8027-4425-81E2-93415A672F48}" dt="2020-06-09T12:38:05.416" v="38" actId="478"/>
          <ac:picMkLst>
            <pc:docMk/>
            <pc:sldMk cId="396510182" sldId="3121"/>
            <ac:picMk id="4" creationId="{D95861F1-CA20-4A39-88DE-48E85C1303D3}"/>
          </ac:picMkLst>
        </pc:picChg>
        <pc:picChg chg="del mod">
          <ac:chgData name="Mathilde Humeau" userId="57393ba1-a328-4a9d-b48c-3eb60267c6a3" providerId="ADAL" clId="{239098EC-8027-4425-81E2-93415A672F48}" dt="2020-06-09T12:39:55.253" v="60" actId="21"/>
          <ac:picMkLst>
            <pc:docMk/>
            <pc:sldMk cId="396510182" sldId="3121"/>
            <ac:picMk id="5" creationId="{4AEF4248-9609-0A47-847F-E058EF7B15C3}"/>
          </ac:picMkLst>
        </pc:picChg>
        <pc:picChg chg="add del mod">
          <ac:chgData name="Mathilde Humeau" userId="57393ba1-a328-4a9d-b48c-3eb60267c6a3" providerId="ADAL" clId="{239098EC-8027-4425-81E2-93415A672F48}" dt="2020-06-09T12:38:21.369" v="40" actId="478"/>
          <ac:picMkLst>
            <pc:docMk/>
            <pc:sldMk cId="396510182" sldId="3121"/>
            <ac:picMk id="6" creationId="{FEB15192-B33B-499B-B9D8-48AF7DCC7CCE}"/>
          </ac:picMkLst>
        </pc:picChg>
        <pc:picChg chg="add mod">
          <ac:chgData name="Mathilde Humeau" userId="57393ba1-a328-4a9d-b48c-3eb60267c6a3" providerId="ADAL" clId="{239098EC-8027-4425-81E2-93415A672F48}" dt="2020-06-09T12:48:46.977" v="305" actId="14100"/>
          <ac:picMkLst>
            <pc:docMk/>
            <pc:sldMk cId="396510182" sldId="3121"/>
            <ac:picMk id="7" creationId="{7374C318-F48F-4AAD-A2AD-997A349DB1FD}"/>
          </ac:picMkLst>
        </pc:picChg>
        <pc:picChg chg="add mod">
          <ac:chgData name="Mathilde Humeau" userId="57393ba1-a328-4a9d-b48c-3eb60267c6a3" providerId="ADAL" clId="{239098EC-8027-4425-81E2-93415A672F48}" dt="2020-06-09T12:48:57.064" v="310" actId="1076"/>
          <ac:picMkLst>
            <pc:docMk/>
            <pc:sldMk cId="396510182" sldId="3121"/>
            <ac:picMk id="8" creationId="{F4E0D2B6-DC2D-48C4-84F3-CA4BC222C4A3}"/>
          </ac:picMkLst>
        </pc:picChg>
        <pc:picChg chg="add mod">
          <ac:chgData name="Mathilde Humeau" userId="57393ba1-a328-4a9d-b48c-3eb60267c6a3" providerId="ADAL" clId="{239098EC-8027-4425-81E2-93415A672F48}" dt="2020-06-09T12:48:59.637" v="311" actId="1076"/>
          <ac:picMkLst>
            <pc:docMk/>
            <pc:sldMk cId="396510182" sldId="3121"/>
            <ac:picMk id="9" creationId="{04824BCB-A049-4D2E-BF5F-CCFB74658DC9}"/>
          </ac:picMkLst>
        </pc:picChg>
        <pc:picChg chg="add mod">
          <ac:chgData name="Mathilde Humeau" userId="57393ba1-a328-4a9d-b48c-3eb60267c6a3" providerId="ADAL" clId="{239098EC-8027-4425-81E2-93415A672F48}" dt="2020-06-09T12:48:52.032" v="307" actId="1076"/>
          <ac:picMkLst>
            <pc:docMk/>
            <pc:sldMk cId="396510182" sldId="3121"/>
            <ac:picMk id="14" creationId="{D0C7CFB3-30EE-47A8-943B-72922EDEC9A1}"/>
          </ac:picMkLst>
        </pc:picChg>
        <pc:picChg chg="add mod">
          <ac:chgData name="Mathilde Humeau" userId="57393ba1-a328-4a9d-b48c-3eb60267c6a3" providerId="ADAL" clId="{239098EC-8027-4425-81E2-93415A672F48}" dt="2020-06-09T12:51:21.516" v="433" actId="1076"/>
          <ac:picMkLst>
            <pc:docMk/>
            <pc:sldMk cId="396510182" sldId="3121"/>
            <ac:picMk id="18" creationId="{FA39D3C1-9B9A-4BE4-8300-E06D63EA59A8}"/>
          </ac:picMkLst>
        </pc:picChg>
        <pc:picChg chg="add mod">
          <ac:chgData name="Mathilde Humeau" userId="57393ba1-a328-4a9d-b48c-3eb60267c6a3" providerId="ADAL" clId="{239098EC-8027-4425-81E2-93415A672F48}" dt="2020-06-09T12:51:57.807" v="442" actId="1076"/>
          <ac:picMkLst>
            <pc:docMk/>
            <pc:sldMk cId="396510182" sldId="3121"/>
            <ac:picMk id="19" creationId="{8F45F37A-4B84-4023-825B-A8FD9AF13434}"/>
          </ac:picMkLst>
        </pc:picChg>
        <pc:picChg chg="add del mod">
          <ac:chgData name="Mathilde Humeau" userId="57393ba1-a328-4a9d-b48c-3eb60267c6a3" providerId="ADAL" clId="{239098EC-8027-4425-81E2-93415A672F48}" dt="2020-06-09T12:39:51.366" v="59"/>
          <ac:picMkLst>
            <pc:docMk/>
            <pc:sldMk cId="396510182" sldId="3121"/>
            <ac:picMk id="11266" creationId="{6799D597-4F39-4704-A2E8-2D143BB0146C}"/>
          </ac:picMkLst>
        </pc:picChg>
      </pc:sldChg>
      <pc:sldChg chg="addSp modSp mod">
        <pc:chgData name="Mathilde Humeau" userId="57393ba1-a328-4a9d-b48c-3eb60267c6a3" providerId="ADAL" clId="{239098EC-8027-4425-81E2-93415A672F48}" dt="2020-06-09T12:40:26.163" v="69" actId="14100"/>
        <pc:sldMkLst>
          <pc:docMk/>
          <pc:sldMk cId="2222549035" sldId="3139"/>
        </pc:sldMkLst>
        <pc:spChg chg="mod">
          <ac:chgData name="Mathilde Humeau" userId="57393ba1-a328-4a9d-b48c-3eb60267c6a3" providerId="ADAL" clId="{239098EC-8027-4425-81E2-93415A672F48}" dt="2020-06-09T12:40:19.659" v="66" actId="14100"/>
          <ac:spMkLst>
            <pc:docMk/>
            <pc:sldMk cId="2222549035" sldId="3139"/>
            <ac:spMk id="3" creationId="{FD9F3EA4-FBC5-4D61-B7C6-E46794224C89}"/>
          </ac:spMkLst>
        </pc:spChg>
        <pc:picChg chg="add mod ord">
          <ac:chgData name="Mathilde Humeau" userId="57393ba1-a328-4a9d-b48c-3eb60267c6a3" providerId="ADAL" clId="{239098EC-8027-4425-81E2-93415A672F48}" dt="2020-06-09T12:40:26.163" v="69" actId="14100"/>
          <ac:picMkLst>
            <pc:docMk/>
            <pc:sldMk cId="2222549035" sldId="3139"/>
            <ac:picMk id="4" creationId="{E88CB1A7-6474-4F93-8BE7-C61D84EB8CC1}"/>
          </ac:picMkLst>
        </pc:picChg>
      </pc:sldChg>
      <pc:sldChg chg="modSp mod">
        <pc:chgData name="Mathilde Humeau" userId="57393ba1-a328-4a9d-b48c-3eb60267c6a3" providerId="ADAL" clId="{239098EC-8027-4425-81E2-93415A672F48}" dt="2020-06-09T12:04:23.972" v="2" actId="20577"/>
        <pc:sldMkLst>
          <pc:docMk/>
          <pc:sldMk cId="3603075985" sldId="3140"/>
        </pc:sldMkLst>
        <pc:spChg chg="mod">
          <ac:chgData name="Mathilde Humeau" userId="57393ba1-a328-4a9d-b48c-3eb60267c6a3" providerId="ADAL" clId="{239098EC-8027-4425-81E2-93415A672F48}" dt="2020-06-09T12:04:23.972" v="2" actId="20577"/>
          <ac:spMkLst>
            <pc:docMk/>
            <pc:sldMk cId="3603075985" sldId="3140"/>
            <ac:spMk id="2" creationId="{3CD00A38-73EC-4892-AE2B-6C5D242E9F6B}"/>
          </ac:spMkLst>
        </pc:spChg>
      </pc:sldChg>
      <pc:sldChg chg="modSp mod">
        <pc:chgData name="Mathilde Humeau" userId="57393ba1-a328-4a9d-b48c-3eb60267c6a3" providerId="ADAL" clId="{239098EC-8027-4425-81E2-93415A672F48}" dt="2020-06-09T12:21:36.433" v="5" actId="108"/>
        <pc:sldMkLst>
          <pc:docMk/>
          <pc:sldMk cId="1119521077" sldId="3201"/>
        </pc:sldMkLst>
        <pc:spChg chg="mod">
          <ac:chgData name="Mathilde Humeau" userId="57393ba1-a328-4a9d-b48c-3eb60267c6a3" providerId="ADAL" clId="{239098EC-8027-4425-81E2-93415A672F48}" dt="2020-06-09T12:21:36.433" v="5" actId="108"/>
          <ac:spMkLst>
            <pc:docMk/>
            <pc:sldMk cId="1119521077" sldId="3201"/>
            <ac:spMk id="3" creationId="{5367350A-CBE6-41A3-A25C-20EBB0C75FC8}"/>
          </ac:spMkLst>
        </pc:spChg>
      </pc:sldChg>
    </pc:docChg>
  </pc:docChgLst>
  <pc:docChgLst>
    <pc:chgData name="Alexander Fillbrunn" userId="b734336c-8ba1-44a1-ad26-e75300cc464e" providerId="ADAL" clId="{6A881703-E5B8-2540-B591-0FC35357355C}"/>
    <pc:docChg chg="modSld">
      <pc:chgData name="Alexander Fillbrunn" userId="b734336c-8ba1-44a1-ad26-e75300cc464e" providerId="ADAL" clId="{6A881703-E5B8-2540-B591-0FC35357355C}" dt="2020-06-15T13:38:06.331" v="0"/>
      <pc:docMkLst>
        <pc:docMk/>
      </pc:docMkLst>
      <pc:sldChg chg="modTransition">
        <pc:chgData name="Alexander Fillbrunn" userId="b734336c-8ba1-44a1-ad26-e75300cc464e" providerId="ADAL" clId="{6A881703-E5B8-2540-B591-0FC35357355C}" dt="2020-06-15T13:38:06.331" v="0"/>
        <pc:sldMkLst>
          <pc:docMk/>
          <pc:sldMk cId="2098383342" sldId="319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199794-45CA-FF41-AA62-5E594CEACF02}" type="datetimeFigureOut">
              <a:rPr lang="de-DE" smtClean="0"/>
              <a:t>12.10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2914A-90BC-E546-9349-962456D8039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594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2914A-90BC-E546-9349-962456D8039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4189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1A9F22E-4C0D-4908-AFF9-459C2023FB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7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1A9F22E-4C0D-4908-AFF9-459C2023F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4">
            <a:extLst>
              <a:ext uri="{FF2B5EF4-FFF2-40B4-BE49-F238E27FC236}">
                <a16:creationId xmlns:a16="http://schemas.microsoft.com/office/drawing/2014/main" id="{5F697A4B-CE4C-4E49-AA32-6CBD9C6A4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778" y="717630"/>
            <a:ext cx="4231222" cy="4997370"/>
          </a:xfrm>
          <a:prstGeom prst="rect">
            <a:avLst/>
          </a:prstGeom>
        </p:spPr>
      </p:pic>
      <p:sp>
        <p:nvSpPr>
          <p:cNvPr id="9" name="Title Placeholder 38">
            <a:extLst>
              <a:ext uri="{FF2B5EF4-FFF2-40B4-BE49-F238E27FC236}">
                <a16:creationId xmlns:a16="http://schemas.microsoft.com/office/drawing/2014/main" id="{3FA495CF-93BD-8F45-B37F-ACEA201DC5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365" y="2202948"/>
            <a:ext cx="3696663" cy="45051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4000" b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3F26A9-D6DA-F64D-B35A-ECFBFCC8DBF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365" y="4011527"/>
            <a:ext cx="3580916" cy="19585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Date / Time / </a:t>
            </a:r>
            <a:r>
              <a:rPr lang="de-DE" err="1"/>
              <a:t>etc</a:t>
            </a:r>
            <a:endParaRPr lang="en-US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E62B7D2B-9373-9945-8F0A-9D0891459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365" y="410292"/>
            <a:ext cx="2356273" cy="61467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AC651F-D8B3-AA45-95E4-B84381895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365" y="2875243"/>
            <a:ext cx="3924300" cy="87170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/>
              <a:t>Sub header</a:t>
            </a:r>
          </a:p>
          <a:p>
            <a:pPr lvl="0"/>
            <a:r>
              <a:rPr lang="en-GB"/>
              <a:t>Sub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5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/ End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69DBAA-BAA7-45D0-A471-C166F0C88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25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69DBAA-BAA7-45D0-A471-C166F0C88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11">
            <a:extLst>
              <a:ext uri="{FF2B5EF4-FFF2-40B4-BE49-F238E27FC236}">
                <a16:creationId xmlns:a16="http://schemas.microsoft.com/office/drawing/2014/main" id="{299E838C-14D0-6D49-BF3B-B8CACD55A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t="3755" r="42533" b="35138"/>
          <a:stretch/>
        </p:blipFill>
        <p:spPr>
          <a:xfrm>
            <a:off x="5447839" y="881948"/>
            <a:ext cx="3696161" cy="4833052"/>
          </a:xfrm>
          <a:prstGeom prst="rect">
            <a:avLst/>
          </a:prstGeom>
        </p:spPr>
      </p:pic>
      <p:sp>
        <p:nvSpPr>
          <p:cNvPr id="4" name="Title Placeholder 38">
            <a:extLst>
              <a:ext uri="{FF2B5EF4-FFF2-40B4-BE49-F238E27FC236}">
                <a16:creationId xmlns:a16="http://schemas.microsoft.com/office/drawing/2014/main" id="{76B15A3B-73D6-834E-AA6D-56E5C7E743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365" y="1814328"/>
            <a:ext cx="6391348" cy="87735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71815F6-DD97-E140-83CE-1CFD939DD4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365" y="3822134"/>
            <a:ext cx="3580916" cy="19585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Date / Time / </a:t>
            </a:r>
            <a:r>
              <a:rPr lang="de-DE" err="1"/>
              <a:t>etc</a:t>
            </a:r>
            <a:endParaRPr lang="en-US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8BF695B-0B4B-544E-98A9-C3410956CA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365" y="2896137"/>
            <a:ext cx="3924300" cy="404851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3EE00A1-F28C-FF46-9029-8B6391D75C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365" y="3358331"/>
            <a:ext cx="3924300" cy="367823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49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89E90C-F411-47D6-9B1C-54ADE4BFB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87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89E90C-F411-47D6-9B1C-54ADE4BFB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14E257-8EE4-4BF6-B2FE-670505E43B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 hangingPunct="1"/>
            <a:endParaRPr lang="de-DE" sz="3600" b="1" i="0" baseline="0">
              <a:solidFill>
                <a:schemeClr val="tx1"/>
              </a:solidFill>
              <a:latin typeface="Roboto" pitchFamily="2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1DC2355-B885-6C43-BEB2-172DEE041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1601454"/>
            <a:ext cx="528764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3600">
                <a:solidFill>
                  <a:srgbClr val="322F2E"/>
                </a:solidFill>
              </a:defRPr>
            </a:lvl1pPr>
          </a:lstStyle>
          <a:p>
            <a:r>
              <a:rPr lang="de-DE"/>
              <a:t>Slide Titl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519955-9AF0-4D82-B09B-EDEB6729A2F6}"/>
              </a:ext>
            </a:extLst>
          </p:cNvPr>
          <p:cNvSpPr/>
          <p:nvPr userDrawn="1"/>
        </p:nvSpPr>
        <p:spPr>
          <a:xfrm>
            <a:off x="158750" y="609600"/>
            <a:ext cx="8802370" cy="449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lang="en-GB" sz="180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1A943AA-846E-4CF0-B610-F96B047B76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778" y="3860"/>
            <a:ext cx="4231222" cy="499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39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589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0EF2CD2-BC2E-4611-8108-4DB5D2A60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400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35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21F0666-BCA1-459B-A070-55DC8213A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F87CBB-8D37-4D19-9219-F9CC88DE3E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452563"/>
            <a:ext cx="5475097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6233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5" userDrawn="1">
          <p15:clr>
            <a:srgbClr val="F26B43"/>
          </p15:clr>
        </p15:guide>
        <p15:guide id="2" orient="horz" pos="598" userDrawn="1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490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2D2E743-50D9-4844-91E2-C474695DA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5C8AC2-FC6D-4F7A-B0F0-DC9BEC9110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452563"/>
            <a:ext cx="4213225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37CEBF4-780D-4A4B-83C7-C763D27E8B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0" y="1452563"/>
            <a:ext cx="4284662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031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91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04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C92A5C-8EA7-4270-AFE6-3C093FB582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07828" y="1128587"/>
            <a:ext cx="4648835" cy="4140200"/>
          </a:xfrm>
          <a:prstGeom prst="rect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635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695A495-DABD-4F61-A8B6-F5E56D6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603FEF-2A36-4790-AD56-C05F977E41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452563"/>
            <a:ext cx="3492500" cy="3817937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086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>
          <p15:clr>
            <a:srgbClr val="FFFFFF"/>
          </p15:clr>
        </p15:guide>
        <p15:guide id="2" orient="horz" pos="915">
          <p15:clr>
            <a:srgbClr val="F26B43"/>
          </p15:clr>
        </p15:guide>
        <p15:guide id="3" orient="horz" pos="3320" userDrawn="1">
          <p15:clr>
            <a:srgbClr val="F26B43"/>
          </p15:clr>
        </p15:guide>
        <p15:guide id="4" orient="horz" pos="711" userDrawn="1">
          <p15:clr>
            <a:srgbClr val="F26B43"/>
          </p15:clr>
        </p15:guide>
        <p15:guide id="5" orient="horz" pos="3206" userDrawn="1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23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C92A5C-8EA7-4270-AFE6-3C093FB582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8776" y="1128587"/>
            <a:ext cx="8497888" cy="4140200"/>
          </a:xfrm>
          <a:prstGeom prst="rect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635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8E4BFC-9102-41FD-8FA8-63057F86F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380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>
          <p15:clr>
            <a:srgbClr val="FFFFFF"/>
          </p15:clr>
        </p15:guide>
        <p15:guide id="2" orient="horz" pos="915" userDrawn="1">
          <p15:clr>
            <a:srgbClr val="FFFFFF"/>
          </p15:clr>
        </p15:guide>
        <p15:guide id="3" orient="horz" pos="711" userDrawn="1">
          <p15:clr>
            <a:srgbClr val="F26B43"/>
          </p15:clr>
        </p15:guide>
        <p15:guide id="4" orient="horz" pos="3320" userDrawn="1">
          <p15:clr>
            <a:srgbClr val="F26B43"/>
          </p15:clr>
        </p15:guide>
        <p15:guide id="5" orient="horz" pos="3206" userDrawn="1">
          <p15:clr>
            <a:srgbClr val="FFFF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Fo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310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cxnSp>
        <p:nvCxnSpPr>
          <p:cNvPr id="6" name="Gerade Verbindung 2">
            <a:extLst>
              <a:ext uri="{FF2B5EF4-FFF2-40B4-BE49-F238E27FC236}">
                <a16:creationId xmlns:a16="http://schemas.microsoft.com/office/drawing/2014/main" id="{7757FF3C-41BE-4494-941D-B73E71555B65}"/>
              </a:ext>
            </a:extLst>
          </p:cNvPr>
          <p:cNvCxnSpPr/>
          <p:nvPr userDrawn="1"/>
        </p:nvCxnSpPr>
        <p:spPr>
          <a:xfrm>
            <a:off x="358775" y="850774"/>
            <a:ext cx="8497888" cy="0"/>
          </a:xfrm>
          <a:prstGeom prst="line">
            <a:avLst/>
          </a:prstGeom>
          <a:ln>
            <a:solidFill>
              <a:srgbClr val="FFD5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83A4956-B15A-4F0D-9E7B-2F295EBA0DB5}"/>
              </a:ext>
            </a:extLst>
          </p:cNvPr>
          <p:cNvSpPr txBox="1"/>
          <p:nvPr userDrawn="1"/>
        </p:nvSpPr>
        <p:spPr>
          <a:xfrm>
            <a:off x="4379976" y="5460223"/>
            <a:ext cx="3840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C781D50-5550-5243-AC32-96DDDDD438F6}" type="slidenum">
              <a:rPr lang="en-US" sz="900" b="0" i="0" smtClean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900" b="0" i="0">
              <a:solidFill>
                <a:schemeClr val="bg2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7E96BB0-C680-42B0-B5C8-F4BBDB01C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6152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4FC9B2-219D-4083-B981-AD7619000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206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think-cell Folie" r:id="rId14" imgW="384" imgH="385" progId="TCLayout.ActiveDocument.1">
                  <p:embed/>
                </p:oleObj>
              </mc:Choice>
              <mc:Fallback>
                <p:oleObj name="think-cell Folie" r:id="rId14" imgW="384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4FC9B2-219D-4083-B981-AD7619000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6A566-C6CB-48CA-BE8C-87C9F7EAE9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B229A93-C311-5A47-9A83-26D66A056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68808"/>
            <a:ext cx="8497888" cy="39014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F14891-4CC2-A445-9FA1-B64B0066D875}"/>
              </a:ext>
            </a:extLst>
          </p:cNvPr>
          <p:cNvSpPr/>
          <p:nvPr userDrawn="1"/>
        </p:nvSpPr>
        <p:spPr>
          <a:xfrm>
            <a:off x="-1" y="5418407"/>
            <a:ext cx="7464287" cy="3065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30FFE23F-9D02-4247-8599-995409DAA64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918" y="5458403"/>
            <a:ext cx="707745" cy="184628"/>
          </a:xfrm>
          <a:prstGeom prst="rect">
            <a:avLst/>
          </a:prstGeom>
        </p:spPr>
      </p:pic>
      <p:sp>
        <p:nvSpPr>
          <p:cNvPr id="12" name="Textfeld 13">
            <a:extLst>
              <a:ext uri="{FF2B5EF4-FFF2-40B4-BE49-F238E27FC236}">
                <a16:creationId xmlns:a16="http://schemas.microsoft.com/office/drawing/2014/main" id="{0A21267F-71E2-4C4C-A723-EC4CAB2F2513}"/>
              </a:ext>
            </a:extLst>
          </p:cNvPr>
          <p:cNvSpPr txBox="1"/>
          <p:nvPr userDrawn="1"/>
        </p:nvSpPr>
        <p:spPr>
          <a:xfrm>
            <a:off x="246792" y="5417453"/>
            <a:ext cx="1839191" cy="30653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600" b="0" i="0" kern="1200">
                <a:solidFill>
                  <a:schemeClr val="tx1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© 2020 KNIME AG. All rights reserved.</a:t>
            </a:r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55FBA21E-67A1-8B48-98CA-1F3E1E57506B}"/>
              </a:ext>
            </a:extLst>
          </p:cNvPr>
          <p:cNvSpPr/>
          <p:nvPr userDrawn="1"/>
        </p:nvSpPr>
        <p:spPr>
          <a:xfrm>
            <a:off x="7274553" y="5417453"/>
            <a:ext cx="384048" cy="307486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602390-4A88-D446-9790-34A53AA22A13}"/>
              </a:ext>
            </a:extLst>
          </p:cNvPr>
          <p:cNvSpPr txBox="1"/>
          <p:nvPr userDrawn="1"/>
        </p:nvSpPr>
        <p:spPr>
          <a:xfrm>
            <a:off x="7043061" y="5460223"/>
            <a:ext cx="3840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C781D50-5550-5243-AC32-96DDDDD438F6}" type="slidenum">
              <a:rPr lang="en-US" sz="900" b="0" i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900" b="0" i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9" name="Gerade Verbindung 2">
            <a:extLst>
              <a:ext uri="{FF2B5EF4-FFF2-40B4-BE49-F238E27FC236}">
                <a16:creationId xmlns:a16="http://schemas.microsoft.com/office/drawing/2014/main" id="{3AB6E041-6DA5-D546-9DF5-2E66C58C6E05}"/>
              </a:ext>
            </a:extLst>
          </p:cNvPr>
          <p:cNvCxnSpPr/>
          <p:nvPr userDrawn="1"/>
        </p:nvCxnSpPr>
        <p:spPr>
          <a:xfrm>
            <a:off x="358775" y="850774"/>
            <a:ext cx="8497888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669006-DC94-4B9A-A102-47EF0E67D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952499"/>
            <a:ext cx="8497888" cy="413702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8810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683" r:id="rId3"/>
    <p:sldLayoutId id="2147483721" r:id="rId4"/>
    <p:sldLayoutId id="2147483749" r:id="rId5"/>
    <p:sldLayoutId id="2147483751" r:id="rId6"/>
    <p:sldLayoutId id="2147483757" r:id="rId7"/>
    <p:sldLayoutId id="2147483758" r:id="rId8"/>
    <p:sldLayoutId id="2147483759" r:id="rId9"/>
  </p:sldLayoutIdLst>
  <p:hf hdr="0" ftr="0" dt="0"/>
  <p:txStyles>
    <p:titleStyle>
      <a:lvl1pPr marL="0" marR="0" indent="0" algn="l" defTabSz="6858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de-DE" sz="2400" b="1" i="0" kern="1200" smtClean="0">
          <a:solidFill>
            <a:schemeClr val="tx1"/>
          </a:solidFill>
          <a:effectLst/>
          <a:latin typeface="+mj-lt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750"/>
        </a:spcBef>
        <a:buFont typeface="Wingdings" panose="05000000000000000000" pitchFamily="2" charset="2"/>
        <a:buNone/>
        <a:tabLst/>
        <a:defRPr sz="1600" b="0" i="0" kern="1200">
          <a:solidFill>
            <a:schemeClr val="tx1"/>
          </a:solidFill>
          <a:latin typeface="+mj-lt"/>
          <a:ea typeface="Roboto Light" panose="02000000000000000000" pitchFamily="2" charset="0"/>
          <a:cs typeface="Roboto Light" panose="02000000000000000000" pitchFamily="2" charset="0"/>
        </a:defRPr>
      </a:lvl1pPr>
      <a:lvl2pPr marL="0" indent="0" algn="l" defTabSz="685800" rtl="0" eaLnBrk="1" latinLnBrk="0" hangingPunct="1">
        <a:lnSpc>
          <a:spcPct val="100000"/>
        </a:lnSpc>
        <a:spcBef>
          <a:spcPts val="375"/>
        </a:spcBef>
        <a:buClr>
          <a:srgbClr val="C0C4C6"/>
        </a:buClr>
        <a:buFont typeface="Wingdings" panose="05000000000000000000" pitchFamily="2" charset="2"/>
        <a:buNone/>
        <a:tabLst/>
        <a:defRPr sz="1600" b="1" i="0" kern="1200">
          <a:solidFill>
            <a:schemeClr val="tx1"/>
          </a:solidFill>
          <a:latin typeface="+mj-lt"/>
          <a:ea typeface="Roboto Light" panose="02000000000000000000" pitchFamily="2" charset="0"/>
          <a:cs typeface="+mn-cs"/>
        </a:defRPr>
      </a:lvl2pPr>
      <a:lvl3pPr marL="266700" indent="-260350" algn="l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Wingdings" panose="05000000000000000000" pitchFamily="2" charset="2"/>
        <a:buChar char="§"/>
        <a:tabLst/>
        <a:defRPr sz="1600" b="0" i="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541338" indent="-274638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orient="horz" pos="235">
          <p15:clr>
            <a:srgbClr val="F26B43"/>
          </p15:clr>
        </p15:guide>
        <p15:guide id="5" pos="5579">
          <p15:clr>
            <a:srgbClr val="F26B43"/>
          </p15:clr>
        </p15:guide>
        <p15:guide id="6" orient="horz" pos="3410" userDrawn="1">
          <p15:clr>
            <a:srgbClr val="F26B43"/>
          </p15:clr>
        </p15:guide>
        <p15:guide id="7" orient="horz" pos="3206" userDrawn="1">
          <p15:clr>
            <a:srgbClr val="F26B43"/>
          </p15:clr>
        </p15:guide>
        <p15:guide id="8" orient="horz" pos="5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04F4491-FD2A-6046-AB2E-0FDF4203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1772470"/>
            <a:ext cx="6325055" cy="1107996"/>
          </a:xfrm>
        </p:spPr>
        <p:txBody>
          <a:bodyPr/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he KNIME Demo Library:</a:t>
            </a:r>
            <a:b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Machin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BC95A5-9871-FF40-B819-9C568AFBEE06}"/>
              </a:ext>
            </a:extLst>
          </p:cNvPr>
          <p:cNvSpPr txBox="1">
            <a:spLocks/>
          </p:cNvSpPr>
          <p:nvPr/>
        </p:nvSpPr>
        <p:spPr>
          <a:xfrm>
            <a:off x="358774" y="3500943"/>
            <a:ext cx="4739742" cy="365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400" b="1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76FCFC-01D1-854D-B4A3-5B6C3037F4D1}"/>
              </a:ext>
            </a:extLst>
          </p:cNvPr>
          <p:cNvSpPr txBox="1">
            <a:spLocks/>
          </p:cNvSpPr>
          <p:nvPr/>
        </p:nvSpPr>
        <p:spPr>
          <a:xfrm>
            <a:off x="358774" y="3209556"/>
            <a:ext cx="3763521" cy="135495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lexander Fillbrunn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C3D66A6-430B-E541-94F4-8EF8A573D2CA}"/>
              </a:ext>
            </a:extLst>
          </p:cNvPr>
          <p:cNvSpPr txBox="1">
            <a:spLocks/>
          </p:cNvSpPr>
          <p:nvPr/>
        </p:nvSpPr>
        <p:spPr>
          <a:xfrm>
            <a:off x="358774" y="4761544"/>
            <a:ext cx="4739742" cy="2444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Jul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3876637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40A7D-BF58-F442-BBDF-1676B8525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ummar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25F065-C0D3-F145-8752-3ADBE6A28B29}"/>
              </a:ext>
            </a:extLst>
          </p:cNvPr>
          <p:cNvSpPr txBox="1"/>
          <p:nvPr/>
        </p:nvSpPr>
        <p:spPr>
          <a:xfrm>
            <a:off x="358776" y="1050814"/>
            <a:ext cx="3580178" cy="16619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DE" sz="1800" b="0" dirty="0">
                <a:solidFill>
                  <a:schemeClr val="tx1"/>
                </a:solidFill>
                <a:latin typeface="+mn-lt"/>
              </a:rPr>
              <a:t>This set of workflows is meant to show </a:t>
            </a:r>
            <a:r>
              <a:rPr lang="en-DE" dirty="0"/>
              <a:t>how a workflow can turn into an </a:t>
            </a:r>
            <a:r>
              <a:rPr lang="en-DE" b="1" dirty="0"/>
              <a:t>application</a:t>
            </a:r>
            <a:r>
              <a:rPr lang="en-DE" dirty="0"/>
              <a:t> and how </a:t>
            </a:r>
            <a:r>
              <a:rPr lang="en-DE" b="1" dirty="0"/>
              <a:t>different user groups</a:t>
            </a:r>
            <a:r>
              <a:rPr lang="en-DE" dirty="0"/>
              <a:t> in </a:t>
            </a:r>
            <a:r>
              <a:rPr lang="en-DE" b="1" dirty="0"/>
              <a:t>manufacturing</a:t>
            </a:r>
            <a:r>
              <a:rPr lang="en-DE" dirty="0"/>
              <a:t> can consumer workflow via the WebPortal.</a:t>
            </a:r>
            <a:endParaRPr lang="en-DE" sz="18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6C0883D4-7CEE-2D4A-8D4E-A1F5C1DBC1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3229607"/>
            <a:ext cx="4212000" cy="1892049"/>
          </a:xfrm>
          <a:prstGeom prst="rect">
            <a:avLst/>
          </a:prstGeom>
        </p:spPr>
      </p:pic>
      <p:pic>
        <p:nvPicPr>
          <p:cNvPr id="11" name="Picture 10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F2D2FCA5-A832-7C44-8181-188097798E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4"/>
          <a:stretch/>
        </p:blipFill>
        <p:spPr>
          <a:xfrm>
            <a:off x="4280687" y="1008000"/>
            <a:ext cx="4503313" cy="2857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6096A2C-6F03-114E-AA4D-AAD48F6C7C0E}"/>
              </a:ext>
            </a:extLst>
          </p:cNvPr>
          <p:cNvSpPr/>
          <p:nvPr/>
        </p:nvSpPr>
        <p:spPr>
          <a:xfrm rot="5400000">
            <a:off x="5449983" y="3524084"/>
            <a:ext cx="178027" cy="1804522"/>
          </a:xfrm>
          <a:prstGeom prst="rect">
            <a:avLst/>
          </a:prstGeom>
          <a:solidFill>
            <a:srgbClr val="FFD800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Up Arrow 13">
            <a:extLst>
              <a:ext uri="{FF2B5EF4-FFF2-40B4-BE49-F238E27FC236}">
                <a16:creationId xmlns:a16="http://schemas.microsoft.com/office/drawing/2014/main" id="{85D8B1F1-A9A7-A64F-9889-960B669B93D7}"/>
              </a:ext>
            </a:extLst>
          </p:cNvPr>
          <p:cNvSpPr/>
          <p:nvPr/>
        </p:nvSpPr>
        <p:spPr>
          <a:xfrm>
            <a:off x="6330042" y="3963097"/>
            <a:ext cx="347958" cy="552259"/>
          </a:xfrm>
          <a:prstGeom prst="upArrow">
            <a:avLst/>
          </a:prstGeom>
          <a:solidFill>
            <a:srgbClr val="FFD800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16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C92C-AB37-E64E-BC2D-456CD175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EE6197-234A-6149-BBE5-F2705378E5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5" y="1452563"/>
            <a:ext cx="3811781" cy="3636962"/>
          </a:xfrm>
        </p:spPr>
        <p:txBody>
          <a:bodyPr>
            <a:normAutofit/>
          </a:bodyPr>
          <a:lstStyle/>
          <a:p>
            <a:pPr lvl="2">
              <a:lnSpc>
                <a:spcPct val="150000"/>
              </a:lnSpc>
            </a:pPr>
            <a:r>
              <a:rPr lang="en-GB" dirty="0"/>
              <a:t>Focus</a:t>
            </a:r>
          </a:p>
          <a:p>
            <a:pPr lvl="3">
              <a:lnSpc>
                <a:spcPct val="150000"/>
              </a:lnSpc>
            </a:pPr>
            <a:r>
              <a:rPr lang="en-GB" dirty="0" err="1"/>
              <a:t>WebPortal</a:t>
            </a:r>
            <a:r>
              <a:rPr lang="en-GB" dirty="0"/>
              <a:t> for different user groups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Database access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Loops in </a:t>
            </a:r>
            <a:r>
              <a:rPr lang="en-GB" dirty="0" err="1"/>
              <a:t>WebPortal</a:t>
            </a:r>
            <a:endParaRPr lang="en-GB" dirty="0"/>
          </a:p>
          <a:p>
            <a:pPr lvl="3">
              <a:lnSpc>
                <a:spcPct val="150000"/>
              </a:lnSpc>
            </a:pPr>
            <a:r>
              <a:rPr lang="en-GB" dirty="0"/>
              <a:t>Selection &amp; Filtering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F5BF1C4-1E02-A142-BC8E-9BE8F43D72B0}"/>
              </a:ext>
            </a:extLst>
          </p:cNvPr>
          <p:cNvSpPr txBox="1">
            <a:spLocks/>
          </p:cNvSpPr>
          <p:nvPr/>
        </p:nvSpPr>
        <p:spPr>
          <a:xfrm>
            <a:off x="4572000" y="1452563"/>
            <a:ext cx="3811781" cy="36369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50000"/>
              </a:lnSpc>
            </a:pPr>
            <a:r>
              <a:rPr lang="en-GB" dirty="0"/>
              <a:t>Data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Artificially generated data with</a:t>
            </a:r>
          </a:p>
          <a:p>
            <a:pPr lvl="4">
              <a:lnSpc>
                <a:spcPct val="150000"/>
              </a:lnSpc>
            </a:pPr>
            <a:r>
              <a:rPr lang="en-GB" dirty="0"/>
              <a:t>Machine status</a:t>
            </a:r>
          </a:p>
          <a:p>
            <a:pPr lvl="4">
              <a:lnSpc>
                <a:spcPct val="150000"/>
              </a:lnSpc>
            </a:pPr>
            <a:r>
              <a:rPr lang="en-GB" dirty="0"/>
              <a:t>Maintenance records</a:t>
            </a:r>
          </a:p>
          <a:p>
            <a:pPr lvl="4">
              <a:lnSpc>
                <a:spcPct val="150000"/>
              </a:lnSpc>
            </a:pPr>
            <a:r>
              <a:rPr lang="en-GB" dirty="0"/>
              <a:t>Manufacturing data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Size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5 workflows + data generator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Time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~40 minutes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Any workflow can be skipped</a:t>
            </a:r>
          </a:p>
        </p:txBody>
      </p:sp>
    </p:spTree>
    <p:extLst>
      <p:ext uri="{BB962C8B-B14F-4D97-AF65-F5344CB8AC3E}">
        <p14:creationId xmlns:p14="http://schemas.microsoft.com/office/powerpoint/2010/main" val="1649190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BA710-A3A3-CD47-89ED-9C4AE53E7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User Group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80BF7F9-CCA7-0744-BD0F-1B8108EFD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1599953"/>
            <a:ext cx="1422400" cy="1422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0C595B8-21B7-3E4D-B4BB-37D576D56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642" y="1599953"/>
            <a:ext cx="1422400" cy="14224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F2C804-7FD6-D440-A5A8-D67EC04FB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6509" y="1599953"/>
            <a:ext cx="1422400" cy="1422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D7D73A-9374-BE4B-B139-ACDD638F39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0377" y="1599953"/>
            <a:ext cx="1422400" cy="1422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932ADF8-57B3-8E46-830C-FEE46054E319}"/>
              </a:ext>
            </a:extLst>
          </p:cNvPr>
          <p:cNvSpPr txBox="1"/>
          <p:nvPr/>
        </p:nvSpPr>
        <p:spPr>
          <a:xfrm>
            <a:off x="185034" y="3084070"/>
            <a:ext cx="1769882" cy="1422400"/>
          </a:xfrm>
          <a:prstGeom prst="rect">
            <a:avLst/>
          </a:prstGeom>
          <a:solidFill>
            <a:srgbClr val="EFF1F2"/>
          </a:solidFill>
          <a:ln w="15875">
            <a:solidFill>
              <a:srgbClr val="C0C4C6"/>
            </a:solidFill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KNIME Exper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Builds workflows f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data access an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v</a:t>
            </a:r>
            <a:r>
              <a:rPr kumimoji="0" lang="en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isualization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F28165-CE03-F740-91BC-B4906B5956B3}"/>
              </a:ext>
            </a:extLst>
          </p:cNvPr>
          <p:cNvSpPr txBox="1"/>
          <p:nvPr/>
        </p:nvSpPr>
        <p:spPr>
          <a:xfrm>
            <a:off x="2518901" y="3084070"/>
            <a:ext cx="1769882" cy="1422400"/>
          </a:xfrm>
          <a:prstGeom prst="rect">
            <a:avLst/>
          </a:prstGeom>
          <a:solidFill>
            <a:srgbClr val="EFF1F2"/>
          </a:solidFill>
          <a:ln w="15875">
            <a:solidFill>
              <a:srgbClr val="C0C4C6"/>
            </a:solidFill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nufactur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Exper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Supervise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the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nufacturing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Proces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.</a:t>
            </a: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C23458-0BB9-B149-9280-119E0655DC52}"/>
              </a:ext>
            </a:extLst>
          </p:cNvPr>
          <p:cNvSpPr txBox="1"/>
          <p:nvPr/>
        </p:nvSpPr>
        <p:spPr>
          <a:xfrm>
            <a:off x="4852768" y="3084070"/>
            <a:ext cx="1769882" cy="1422400"/>
          </a:xfrm>
          <a:prstGeom prst="rect">
            <a:avLst/>
          </a:prstGeom>
          <a:solidFill>
            <a:srgbClr val="EFF1F2"/>
          </a:solidFill>
          <a:ln w="15875">
            <a:solidFill>
              <a:srgbClr val="C0C4C6"/>
            </a:solidFill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intenan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Supervis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Assign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shifts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and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checks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chin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statu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.</a:t>
            </a: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3413CA-A065-804E-BCF7-97D5261F7180}"/>
              </a:ext>
            </a:extLst>
          </p:cNvPr>
          <p:cNvSpPr txBox="1"/>
          <p:nvPr/>
        </p:nvSpPr>
        <p:spPr>
          <a:xfrm>
            <a:off x="7186634" y="3084070"/>
            <a:ext cx="1769882" cy="1422400"/>
          </a:xfrm>
          <a:prstGeom prst="rect">
            <a:avLst/>
          </a:prstGeom>
          <a:solidFill>
            <a:srgbClr val="EFF1F2"/>
          </a:solidFill>
          <a:ln w="15875">
            <a:solidFill>
              <a:srgbClr val="C0C4C6"/>
            </a:solidFill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intenan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Crew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Maintains machin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and creates reports.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52FF1AB-B875-6841-A710-3535983E5B2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442"/>
          <a:stretch/>
        </p:blipFill>
        <p:spPr>
          <a:xfrm>
            <a:off x="1267990" y="2457544"/>
            <a:ext cx="686926" cy="55199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972865D-1EC2-7049-BC13-83098BA0B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3003" y="2311153"/>
            <a:ext cx="704076" cy="7040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DA49C1A-3BE9-8149-96C6-76AA402585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5493" y="2276276"/>
            <a:ext cx="773829" cy="77382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167C603-6C93-134D-9300-389064E792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5600" y="2375127"/>
            <a:ext cx="576125" cy="57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570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C92C-AB37-E64E-BC2D-456CD175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EE6197-234A-6149-BBE5-F2705378E5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6" y="1452563"/>
            <a:ext cx="3149417" cy="3636962"/>
          </a:xfrm>
        </p:spPr>
        <p:txBody>
          <a:bodyPr>
            <a:normAutofit/>
          </a:bodyPr>
          <a:lstStyle/>
          <a:p>
            <a:pPr lvl="2">
              <a:lnSpc>
                <a:spcPct val="150000"/>
              </a:lnSpc>
            </a:pPr>
            <a:r>
              <a:rPr lang="en-GB" dirty="0"/>
              <a:t>Data Browser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Allows viewing and aggregating data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Machine Status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Overview over machines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Manufacturing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Overview over machine output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Repair Entry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Make a report about a machine repair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Shift Assignment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Assign personnel to machines</a:t>
            </a:r>
          </a:p>
        </p:txBody>
      </p:sp>
      <p:pic>
        <p:nvPicPr>
          <p:cNvPr id="5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77FFBB54-57FA-3C4E-A83C-76A6598C05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8425" y="1099038"/>
            <a:ext cx="4788238" cy="260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93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937A9-7E19-3440-8049-EAF67E6830D4}"/>
              </a:ext>
            </a:extLst>
          </p:cNvPr>
          <p:cNvSpPr txBox="1">
            <a:spLocks/>
          </p:cNvSpPr>
          <p:nvPr/>
        </p:nvSpPr>
        <p:spPr>
          <a:xfrm>
            <a:off x="762000" y="4191000"/>
            <a:ext cx="7620001" cy="878417"/>
          </a:xfrm>
          <a:prstGeom prst="rect">
            <a:avLst/>
          </a:prstGeom>
        </p:spPr>
        <p:txBody>
          <a:bodyPr vert="horz" lIns="76200" tIns="38100" rIns="76200" bIns="38100" rtlCol="0" anchor="b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167" dirty="0"/>
              <a:t>The KNIME® trademark and logo and OPEN FOR INNOVATION® trademark are used by </a:t>
            </a:r>
            <a:br>
              <a:rPr lang="en-US" altLang="ja-JP" sz="1167" dirty="0"/>
            </a:br>
            <a:r>
              <a:rPr lang="en-US" altLang="ja-JP" sz="1167" dirty="0"/>
              <a:t>KNIME.com AG under license from KNIME GmbH, and are registered in the United States. </a:t>
            </a:r>
            <a:br>
              <a:rPr lang="en-US" altLang="ja-JP" sz="1167" dirty="0"/>
            </a:br>
            <a:r>
              <a:rPr lang="en-US" altLang="ja-JP" sz="1167" dirty="0"/>
              <a:t>KNIME® is also registered in Germany.</a:t>
            </a:r>
            <a:endParaRPr lang="en-US" sz="2667" dirty="0"/>
          </a:p>
        </p:txBody>
      </p:sp>
    </p:spTree>
    <p:extLst>
      <p:ext uri="{BB962C8B-B14F-4D97-AF65-F5344CB8AC3E}">
        <p14:creationId xmlns:p14="http://schemas.microsoft.com/office/powerpoint/2010/main" val="2818655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CN0BdgKnH6v9unheM6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mATAp_c63gjHgIjN8w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heme/theme1.xml><?xml version="1.0" encoding="utf-8"?>
<a:theme xmlns:a="http://schemas.openxmlformats.org/drawingml/2006/main" name="KNIME Master">
  <a:themeElements>
    <a:clrScheme name="KNIME">
      <a:dk1>
        <a:srgbClr val="3D3A39"/>
      </a:dk1>
      <a:lt1>
        <a:srgbClr val="FFFFFF"/>
      </a:lt1>
      <a:dk2>
        <a:srgbClr val="FFD700"/>
      </a:dk2>
      <a:lt2>
        <a:srgbClr val="898A89"/>
      </a:lt2>
      <a:accent1>
        <a:srgbClr val="C0C4C5"/>
      </a:accent1>
      <a:accent2>
        <a:srgbClr val="EFF0F1"/>
      </a:accent2>
      <a:accent3>
        <a:srgbClr val="F7C719"/>
      </a:accent3>
      <a:accent4>
        <a:srgbClr val="FFE140"/>
      </a:accent4>
      <a:accent5>
        <a:srgbClr val="FFEB74"/>
      </a:accent5>
      <a:accent6>
        <a:srgbClr val="FFF4BE"/>
      </a:accent6>
      <a:hlink>
        <a:srgbClr val="3D3A39"/>
      </a:hlink>
      <a:folHlink>
        <a:srgbClr val="3D3A3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accent3"/>
          </a:solidFill>
        </a:ln>
      </a:spPr>
      <a:bodyPr rtlCol="0" anchor="ctr"/>
      <a:lstStyle>
        <a:defPPr algn="ctr" eaLnBrk="1" hangingPunct="1"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tx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lnSpc>
            <a:spcPct val="100000"/>
          </a:lnSpc>
          <a:defRPr sz="1800" b="0" dirty="0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A7CCEBEA-E859-0F4C-84F6-88FE3A2C35F5}" vid="{68C3BF79-BBFE-3541-ABE5-86AE9476AE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dlc_DocId xmlns="a1d3deca-49d0-46fa-a3f9-6e0c4e618558">XFNKNFZNA3JN-2102554853-435959</_dlc_DocId>
    <_dlc_DocIdUrl xmlns="a1d3deca-49d0-46fa-a3f9-6e0c4e618558">
      <Url>https://knime.sharepoint.com/_layouts/15/DocIdRedir.aspx?ID=XFNKNFZNA3JN-2102554853-435959</Url>
      <Description>XFNKNFZNA3JN-2102554853-435959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3E31740070594596117FEC384DD67F" ma:contentTypeVersion="15" ma:contentTypeDescription="Create a new document." ma:contentTypeScope="" ma:versionID="47b93a1e283d9fc000f0425935169344">
  <xsd:schema xmlns:xsd="http://www.w3.org/2001/XMLSchema" xmlns:xs="http://www.w3.org/2001/XMLSchema" xmlns:p="http://schemas.microsoft.com/office/2006/metadata/properties" xmlns:ns1="http://schemas.microsoft.com/sharepoint/v3" xmlns:ns2="a1d3deca-49d0-46fa-a3f9-6e0c4e618558" xmlns:ns3="32a7ba11-dde9-4cf2-a6ac-8f31dc36ce67" targetNamespace="http://schemas.microsoft.com/office/2006/metadata/properties" ma:root="true" ma:fieldsID="36240bc1a368b89b5f732cc6b3afe097" ns1:_="" ns2:_="" ns3:_="">
    <xsd:import namespace="http://schemas.microsoft.com/sharepoint/v3"/>
    <xsd:import namespace="a1d3deca-49d0-46fa-a3f9-6e0c4e618558"/>
    <xsd:import namespace="32a7ba11-dde9-4cf2-a6ac-8f31dc36ce6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1:_ip_UnifiedCompliancePolicyProperties" minOccurs="0"/>
                <xsd:element ref="ns1:_ip_UnifiedCompliancePolicyUIAction" minOccurs="0"/>
                <xsd:element ref="ns2:_dlc_DocId" minOccurs="0"/>
                <xsd:element ref="ns2:_dlc_DocIdUrl" minOccurs="0"/>
                <xsd:element ref="ns2:_dlc_DocIdPersistId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d3deca-49d0-46fa-a3f9-6e0c4e61855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4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a7ba11-dde9-4cf2-a6ac-8f31dc36ce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6" nillable="true" ma:displayName="Tags" ma:description="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16BDE4-4851-4210-B61A-7DA9F29B133D}">
  <ds:schemaRefs>
    <ds:schemaRef ds:uri="http://purl.org/dc/terms/"/>
    <ds:schemaRef ds:uri="http://purl.org/dc/dcmitype/"/>
    <ds:schemaRef ds:uri="http://schemas.microsoft.com/office/2006/metadata/properties"/>
    <ds:schemaRef ds:uri="32a7ba11-dde9-4cf2-a6ac-8f31dc36ce67"/>
    <ds:schemaRef ds:uri="http://schemas.microsoft.com/office/infopath/2007/PartnerControls"/>
    <ds:schemaRef ds:uri="http://www.w3.org/XML/1998/namespace"/>
    <ds:schemaRef ds:uri="a1d3deca-49d0-46fa-a3f9-6e0c4e618558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EA7FEB7B-575D-4F4A-871D-5A2EF0110D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1d3deca-49d0-46fa-a3f9-6e0c4e618558"/>
    <ds:schemaRef ds:uri="32a7ba11-dde9-4cf2-a6ac-8f31dc36ce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6D30D5-741C-4A73-A5FA-A3640B491E0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439E620-BCF6-45C9-9135-BAA0931EC5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nime Final Template (1)</Template>
  <TotalTime>611</TotalTime>
  <Words>197</Words>
  <Application>Microsoft Macintosh PowerPoint</Application>
  <PresentationFormat>On-screen Show (16:10)</PresentationFormat>
  <Paragraphs>5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Calibri</vt:lpstr>
      <vt:lpstr>Arial</vt:lpstr>
      <vt:lpstr>Roboto</vt:lpstr>
      <vt:lpstr>Wingdings</vt:lpstr>
      <vt:lpstr>Roboto Light</vt:lpstr>
      <vt:lpstr>KNIME Master</vt:lpstr>
      <vt:lpstr>think-cell Folie</vt:lpstr>
      <vt:lpstr>The KNIME Demo Library: Machines</vt:lpstr>
      <vt:lpstr>Summary</vt:lpstr>
      <vt:lpstr>Overview</vt:lpstr>
      <vt:lpstr>User Groups</vt:lpstr>
      <vt:lpstr>Workflow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age 1</dc:title>
  <dc:creator>cihan@folienhelfer.de</dc:creator>
  <cp:lastModifiedBy>Alexander Fillbrunn</cp:lastModifiedBy>
  <cp:revision>217</cp:revision>
  <cp:lastPrinted>2019-02-14T13:33:55Z</cp:lastPrinted>
  <dcterms:created xsi:type="dcterms:W3CDTF">2019-11-20T15:38:13Z</dcterms:created>
  <dcterms:modified xsi:type="dcterms:W3CDTF">2021-10-12T09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3E31740070594596117FEC384DD67F</vt:lpwstr>
  </property>
  <property fmtid="{D5CDD505-2E9C-101B-9397-08002B2CF9AE}" pid="3" name="_dlc_DocIdItemGuid">
    <vt:lpwstr>1ae5cb30-1fef-4ca0-b2a8-8e01f7fd92fa</vt:lpwstr>
  </property>
</Properties>
</file>